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  <p:sldMasterId id="2147483686" r:id="rId2"/>
    <p:sldMasterId id="2147483702" r:id="rId3"/>
  </p:sldMasterIdLst>
  <p:notesMasterIdLst>
    <p:notesMasterId r:id="rId14"/>
  </p:notesMasterIdLst>
  <p:handoutMasterIdLst>
    <p:handoutMasterId r:id="rId15"/>
  </p:handoutMasterIdLst>
  <p:sldIdLst>
    <p:sldId id="324" r:id="rId4"/>
    <p:sldId id="319" r:id="rId5"/>
    <p:sldId id="310" r:id="rId6"/>
    <p:sldId id="311" r:id="rId7"/>
    <p:sldId id="320" r:id="rId8"/>
    <p:sldId id="321" r:id="rId9"/>
    <p:sldId id="318" r:id="rId10"/>
    <p:sldId id="315" r:id="rId11"/>
    <p:sldId id="316" r:id="rId12"/>
    <p:sldId id="327" r:id="rId13"/>
  </p:sldIdLst>
  <p:sldSz cx="12192000" cy="6858000"/>
  <p:notesSz cx="6797675" cy="9928225"/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0C1B63D-C3B3-4692-AF05-0E94781C1321}">
          <p14:sldIdLst>
            <p14:sldId id="324"/>
            <p14:sldId id="319"/>
            <p14:sldId id="310"/>
            <p14:sldId id="311"/>
            <p14:sldId id="320"/>
            <p14:sldId id="321"/>
            <p14:sldId id="318"/>
            <p14:sldId id="315"/>
            <p14:sldId id="316"/>
            <p14:sldId id="32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B25"/>
    <a:srgbClr val="A1ACD1"/>
    <a:srgbClr val="5A6F90"/>
    <a:srgbClr val="FEFE50"/>
    <a:srgbClr val="FC9728"/>
    <a:srgbClr val="576B8A"/>
    <a:srgbClr val="FDE88D"/>
    <a:srgbClr val="FFFF00"/>
    <a:srgbClr val="FFFE62"/>
    <a:srgbClr val="FCFC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25E5076-3810-47DD-B79F-674D7AD40C01}" styleName="Stile scuro 1 - Color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Stile scuro 1 - Colore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Stile scuro 1 - Colore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Stile scuro 2 - Colore 3/Colore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D03447BB-5D67-496B-8E87-E561075AD55C}" styleName="Stile scuro 1 - Color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485" autoAdjust="0"/>
    <p:restoredTop sz="99343" autoAdjust="0"/>
  </p:normalViewPr>
  <p:slideViewPr>
    <p:cSldViewPr snapToGrid="0" snapToObjects="1">
      <p:cViewPr varScale="1">
        <p:scale>
          <a:sx n="71" d="100"/>
          <a:sy n="71" d="100"/>
        </p:scale>
        <p:origin x="432" y="54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418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m.sacchi\Documents\Clienti%20-%20FCP\AssoInternet\2017\11_Novembre\Elaborazioni%20Novembre%202017\Grafico%20Spaccatura%20Video%20Novembre%202017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Grafico!$C$1</c:f>
              <c:strCache>
                <c:ptCount val="1"/>
                <c:pt idx="0">
                  <c:v>Video ADV  
Podcasting video/Video Banner  </c:v>
                </c:pt>
              </c:strCache>
            </c:strRef>
          </c:tx>
          <c:spPr>
            <a:solidFill>
              <a:srgbClr val="FFCB25"/>
            </a:solidFill>
            <a:ln>
              <a:noFill/>
            </a:ln>
          </c:spPr>
          <c:invertIfNegative val="0"/>
          <c:cat>
            <c:strRef>
              <c:f>Grafico!$A$2:$A$25</c:f>
              <c:strCache>
                <c:ptCount val="2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-</c:v>
                </c:pt>
                <c:pt idx="13">
                  <c:v>gen</c:v>
                </c:pt>
                <c:pt idx="14">
                  <c:v>feb</c:v>
                </c:pt>
                <c:pt idx="15">
                  <c:v>mar</c:v>
                </c:pt>
                <c:pt idx="16">
                  <c:v>apr</c:v>
                </c:pt>
                <c:pt idx="17">
                  <c:v>mag</c:v>
                </c:pt>
                <c:pt idx="18">
                  <c:v>giu</c:v>
                </c:pt>
                <c:pt idx="19">
                  <c:v>lug</c:v>
                </c:pt>
                <c:pt idx="20">
                  <c:v>ago</c:v>
                </c:pt>
                <c:pt idx="21">
                  <c:v>set</c:v>
                </c:pt>
                <c:pt idx="22">
                  <c:v>ott</c:v>
                </c:pt>
                <c:pt idx="23">
                  <c:v>nov</c:v>
                </c:pt>
              </c:strCache>
            </c:strRef>
          </c:cat>
          <c:val>
            <c:numRef>
              <c:f>Grafico!$C$2:$C$25</c:f>
              <c:numCache>
                <c:formatCode>0.0%</c:formatCode>
                <c:ptCount val="24"/>
                <c:pt idx="0">
                  <c:v>0.25167413871437644</c:v>
                </c:pt>
                <c:pt idx="1">
                  <c:v>0.27441014759438237</c:v>
                </c:pt>
                <c:pt idx="2">
                  <c:v>0.27221853368423582</c:v>
                </c:pt>
                <c:pt idx="3">
                  <c:v>0.28874385235365396</c:v>
                </c:pt>
                <c:pt idx="4">
                  <c:v>0.28422289911866722</c:v>
                </c:pt>
                <c:pt idx="5">
                  <c:v>0.22492158428402173</c:v>
                </c:pt>
                <c:pt idx="6">
                  <c:v>0.26872612266665241</c:v>
                </c:pt>
                <c:pt idx="7">
                  <c:v>0.24003789272247206</c:v>
                </c:pt>
                <c:pt idx="8">
                  <c:v>0.23524064993686322</c:v>
                </c:pt>
                <c:pt idx="9">
                  <c:v>0.23506927572598554</c:v>
                </c:pt>
                <c:pt idx="10">
                  <c:v>0.21904074522047995</c:v>
                </c:pt>
                <c:pt idx="11">
                  <c:v>0.24343394025876772</c:v>
                </c:pt>
                <c:pt idx="12" formatCode="General">
                  <c:v>0</c:v>
                </c:pt>
                <c:pt idx="13">
                  <c:v>0.22286125073106858</c:v>
                </c:pt>
                <c:pt idx="14">
                  <c:v>0.2568784742599976</c:v>
                </c:pt>
                <c:pt idx="15">
                  <c:v>0.25390444431870046</c:v>
                </c:pt>
                <c:pt idx="16">
                  <c:v>0.2311515213683295</c:v>
                </c:pt>
                <c:pt idx="17">
                  <c:v>0.208436480349906</c:v>
                </c:pt>
                <c:pt idx="18">
                  <c:v>0.22296596215969897</c:v>
                </c:pt>
                <c:pt idx="19">
                  <c:v>0.19825367218409695</c:v>
                </c:pt>
                <c:pt idx="20">
                  <c:v>0.20866632193889792</c:v>
                </c:pt>
                <c:pt idx="21">
                  <c:v>0.24785746616275101</c:v>
                </c:pt>
                <c:pt idx="22">
                  <c:v>0.23161949928737041</c:v>
                </c:pt>
                <c:pt idx="23">
                  <c:v>0.21902919627764122</c:v>
                </c:pt>
              </c:numCache>
            </c:numRef>
          </c:val>
        </c:ser>
        <c:ser>
          <c:idx val="1"/>
          <c:order val="1"/>
          <c:tx>
            <c:strRef>
              <c:f>Grafico!$B$1</c:f>
              <c:strCache>
                <c:ptCount val="1"/>
                <c:pt idx="0">
                  <c:v>Video ADV
Pre-Mid-Post Roll </c:v>
                </c:pt>
              </c:strCache>
            </c:strRef>
          </c:tx>
          <c:spPr>
            <a:solidFill>
              <a:srgbClr val="A1ACD1"/>
            </a:solidFill>
            <a:ln>
              <a:noFill/>
            </a:ln>
          </c:spPr>
          <c:invertIfNegative val="0"/>
          <c:cat>
            <c:strRef>
              <c:f>Grafico!$A$2:$A$25</c:f>
              <c:strCache>
                <c:ptCount val="2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-</c:v>
                </c:pt>
                <c:pt idx="13">
                  <c:v>gen</c:v>
                </c:pt>
                <c:pt idx="14">
                  <c:v>feb</c:v>
                </c:pt>
                <c:pt idx="15">
                  <c:v>mar</c:v>
                </c:pt>
                <c:pt idx="16">
                  <c:v>apr</c:v>
                </c:pt>
                <c:pt idx="17">
                  <c:v>mag</c:v>
                </c:pt>
                <c:pt idx="18">
                  <c:v>giu</c:v>
                </c:pt>
                <c:pt idx="19">
                  <c:v>lug</c:v>
                </c:pt>
                <c:pt idx="20">
                  <c:v>ago</c:v>
                </c:pt>
                <c:pt idx="21">
                  <c:v>set</c:v>
                </c:pt>
                <c:pt idx="22">
                  <c:v>ott</c:v>
                </c:pt>
                <c:pt idx="23">
                  <c:v>nov</c:v>
                </c:pt>
              </c:strCache>
            </c:strRef>
          </c:cat>
          <c:val>
            <c:numRef>
              <c:f>Grafico!$B$2:$B$25</c:f>
              <c:numCache>
                <c:formatCode>0.0%</c:formatCode>
                <c:ptCount val="24"/>
                <c:pt idx="0">
                  <c:v>0.74832586128562362</c:v>
                </c:pt>
                <c:pt idx="1">
                  <c:v>0.7255898524056178</c:v>
                </c:pt>
                <c:pt idx="2">
                  <c:v>0.72778146631576413</c:v>
                </c:pt>
                <c:pt idx="3">
                  <c:v>0.71125614764634593</c:v>
                </c:pt>
                <c:pt idx="4">
                  <c:v>0.71577710088133273</c:v>
                </c:pt>
                <c:pt idx="5">
                  <c:v>0.77507841571597813</c:v>
                </c:pt>
                <c:pt idx="6">
                  <c:v>0.73127387733334759</c:v>
                </c:pt>
                <c:pt idx="7">
                  <c:v>0.75996210727752789</c:v>
                </c:pt>
                <c:pt idx="8">
                  <c:v>0.76475935006313678</c:v>
                </c:pt>
                <c:pt idx="9">
                  <c:v>0.76493072427401454</c:v>
                </c:pt>
                <c:pt idx="10">
                  <c:v>0.78095925477952011</c:v>
                </c:pt>
                <c:pt idx="11">
                  <c:v>0.75656605974123237</c:v>
                </c:pt>
                <c:pt idx="12" formatCode="General">
                  <c:v>0</c:v>
                </c:pt>
                <c:pt idx="13">
                  <c:v>0.77713874926893145</c:v>
                </c:pt>
                <c:pt idx="14">
                  <c:v>0.74312152574000245</c:v>
                </c:pt>
                <c:pt idx="15">
                  <c:v>0.74609555568129959</c:v>
                </c:pt>
                <c:pt idx="16">
                  <c:v>0.76884847863167061</c:v>
                </c:pt>
                <c:pt idx="17">
                  <c:v>0.79156351965009386</c:v>
                </c:pt>
                <c:pt idx="18">
                  <c:v>0.77703403784030101</c:v>
                </c:pt>
                <c:pt idx="19">
                  <c:v>0.80174632781590305</c:v>
                </c:pt>
                <c:pt idx="20">
                  <c:v>0.791333678061102</c:v>
                </c:pt>
                <c:pt idx="21">
                  <c:v>0.75214253383724905</c:v>
                </c:pt>
                <c:pt idx="22">
                  <c:v>0.76838050071262953</c:v>
                </c:pt>
                <c:pt idx="23">
                  <c:v>0.7809708037223589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158483384"/>
        <c:axId val="159165168"/>
      </c:barChart>
      <c:catAx>
        <c:axId val="1584833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400" b="1"/>
            </a:pPr>
            <a:endParaRPr lang="it-IT"/>
          </a:p>
        </c:txPr>
        <c:crossAx val="159165168"/>
        <c:crosses val="autoZero"/>
        <c:auto val="1"/>
        <c:lblAlgn val="ctr"/>
        <c:lblOffset val="100"/>
        <c:tickLblSkip val="1"/>
        <c:noMultiLvlLbl val="1"/>
      </c:catAx>
      <c:valAx>
        <c:axId val="159165168"/>
        <c:scaling>
          <c:orientation val="minMax"/>
          <c:max val="1"/>
        </c:scaling>
        <c:delete val="0"/>
        <c:axPos val="l"/>
        <c:majorGridlines/>
        <c:numFmt formatCode="0%" sourceLinked="0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300" b="1"/>
            </a:pPr>
            <a:endParaRPr lang="it-IT"/>
          </a:p>
        </c:txPr>
        <c:crossAx val="15848338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14630783888805535"/>
          <c:y val="0.91483931963001763"/>
          <c:w val="0.65456798113365677"/>
          <c:h val="8.4961593920203235E-2"/>
        </c:manualLayout>
      </c:layout>
      <c:overlay val="0"/>
      <c:txPr>
        <a:bodyPr/>
        <a:lstStyle/>
        <a:p>
          <a:pPr>
            <a:defRPr sz="1400"/>
          </a:pPr>
          <a:endParaRPr lang="it-IT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2314</cdr:x>
      <cdr:y>0</cdr:y>
    </cdr:from>
    <cdr:to>
      <cdr:x>0.56114</cdr:x>
      <cdr:y>0.87025</cdr:y>
    </cdr:to>
    <cdr:sp macro="" textlink="">
      <cdr:nvSpPr>
        <cdr:cNvPr id="2" name="Rettangolo 1"/>
        <cdr:cNvSpPr/>
      </cdr:nvSpPr>
      <cdr:spPr>
        <a:xfrm xmlns:a="http://schemas.openxmlformats.org/drawingml/2006/main">
          <a:off x="5477818" y="0"/>
          <a:ext cx="397897" cy="3978734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it-IT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D4E21-AA1D-BE49-8829-DEA10D5CF4C8}" type="datetimeFigureOut">
              <a:rPr lang="it-IT" smtClean="0"/>
              <a:t>19/12/2017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F8DF2B-E534-A049-A267-F065CD45830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848907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F6D68F-7DBE-1C48-BC1F-E6A07B52C7E0}" type="datetimeFigureOut">
              <a:rPr lang="it-IT" smtClean="0"/>
              <a:t>19/12/2017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C7627C-DB68-9A4D-8B30-F0E92B6BDF8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6503266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1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20842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18649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933707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588778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357033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371756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109868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459950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219074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emf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8" y="1065749"/>
            <a:ext cx="10114148" cy="3216228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90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1800" b="0" cap="none">
                <a:solidFill>
                  <a:schemeClr val="bg1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711713"/>
            <a:ext cx="5244792" cy="4049711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44561" y="1711713"/>
            <a:ext cx="5244792" cy="4049711"/>
          </a:xfrm>
        </p:spPr>
        <p:txBody>
          <a:bodyPr/>
          <a:lstStyle>
            <a:lvl1pPr>
              <a:defRPr sz="17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3016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5" descr="runningman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3" name="Rettangolo 7"/>
          <p:cNvSpPr/>
          <p:nvPr userDrawn="1"/>
        </p:nvSpPr>
        <p:spPr>
          <a:xfrm>
            <a:off x="1" y="5175334"/>
            <a:ext cx="12192000" cy="16851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pic>
        <p:nvPicPr>
          <p:cNvPr id="14" name="Bild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12" name="Rettangolo 6"/>
          <p:cNvSpPr/>
          <p:nvPr userDrawn="1"/>
        </p:nvSpPr>
        <p:spPr>
          <a:xfrm>
            <a:off x="0" y="1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sp>
        <p:nvSpPr>
          <p:cNvPr id="15" name="Rettangolo 6"/>
          <p:cNvSpPr/>
          <p:nvPr userDrawn="1"/>
        </p:nvSpPr>
        <p:spPr>
          <a:xfrm>
            <a:off x="0" y="0"/>
            <a:ext cx="12192000" cy="12491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sp>
        <p:nvSpPr>
          <p:cNvPr id="16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250542"/>
            <a:ext cx="12192000" cy="2629091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10888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4" y="1684196"/>
            <a:ext cx="6824548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3281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216" y="1784079"/>
            <a:ext cx="6842651" cy="3848991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58096" y="3286397"/>
            <a:ext cx="6155715" cy="825759"/>
          </a:xfrm>
        </p:spPr>
        <p:txBody>
          <a:bodyPr anchor="t"/>
          <a:lstStyle>
            <a:lvl1pPr>
              <a:defRPr sz="5400" cap="all" spc="-100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4000">
                <a:latin typeface="Arial Black"/>
                <a:cs typeface="Arial Black"/>
              </a:defRPr>
            </a:lvl2pPr>
            <a:lvl3pPr>
              <a:defRPr sz="4000">
                <a:latin typeface="Arial Black"/>
                <a:cs typeface="Arial Black"/>
              </a:defRPr>
            </a:lvl3pPr>
            <a:lvl4pPr>
              <a:defRPr sz="4000">
                <a:latin typeface="Arial Black"/>
                <a:cs typeface="Arial Black"/>
              </a:defRPr>
            </a:lvl4pPr>
            <a:lvl5pPr>
              <a:defRPr sz="4000">
                <a:latin typeface="Arial Black"/>
                <a:cs typeface="Arial Black"/>
              </a:defRPr>
            </a:lvl5pPr>
            <a:lvl6pPr>
              <a:defRPr sz="4000">
                <a:latin typeface="Arial Black"/>
                <a:cs typeface="Arial Black"/>
              </a:defRPr>
            </a:lvl6pPr>
            <a:lvl7pPr>
              <a:defRPr sz="4000">
                <a:latin typeface="Arial Black"/>
                <a:cs typeface="Arial Black"/>
              </a:defRPr>
            </a:lvl7pPr>
            <a:lvl8pPr>
              <a:defRPr sz="4000">
                <a:latin typeface="Arial Black"/>
                <a:cs typeface="Arial Black"/>
              </a:defRPr>
            </a:lvl8pPr>
            <a:lvl9pPr>
              <a:defRPr sz="4000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BIG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58096" y="2203166"/>
            <a:ext cx="6155715" cy="426875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400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400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400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400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2350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91287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877954"/>
            <a:ext cx="9337920" cy="1564614"/>
          </a:xfrm>
        </p:spPr>
        <p:txBody>
          <a:bodyPr anchor="ctr"/>
          <a:lstStyle>
            <a:lvl1pPr>
              <a:lnSpc>
                <a:spcPct val="80000"/>
              </a:lnSpc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5" y="4501190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Immagin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9412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527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8218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0248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0099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2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04331" y="1941404"/>
            <a:ext cx="10583335" cy="2462213"/>
          </a:xfrm>
        </p:spPr>
        <p:txBody>
          <a:bodyPr/>
          <a:lstStyle>
            <a:lvl1pPr marL="500063" indent="-500063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982663" indent="-490538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431925" indent="-450850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1600">
                <a:solidFill>
                  <a:schemeClr val="tx1"/>
                </a:solidFill>
              </a:defRPr>
            </a:lvl3pPr>
            <a:lvl4pPr marL="1371600" indent="-342900">
              <a:buFont typeface="+mj-lt"/>
              <a:buAutoNum type="arabicPeriod"/>
              <a:defRPr/>
            </a:lvl4pPr>
            <a:lvl5pPr marL="17145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401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0990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2270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37664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0352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2835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411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530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91758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0392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12236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60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sEC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95260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02847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210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65681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9408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9612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8229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7953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9120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4302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8780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54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1387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1204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73167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4763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60562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573349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6172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8554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55363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 descr="runningman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2374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r="11734" b="477"/>
          <a:stretch/>
        </p:blipFill>
        <p:spPr>
          <a:xfrm>
            <a:off x="-1" y="0"/>
            <a:ext cx="12192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60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 descr="runningman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1781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0677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8" y="1705891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 marL="180000" indent="-180000">
              <a:buClr>
                <a:schemeClr val="tx2"/>
              </a:buClr>
              <a:buFont typeface="Wingdings" panose="05000000000000000000" pitchFamily="2" charset="2"/>
              <a:buChar char="§"/>
              <a:defRPr sz="1800"/>
            </a:lvl4pPr>
            <a:lvl5pPr marL="360000" indent="-180000">
              <a:buFont typeface="Wingdings" panose="05000000000000000000" pitchFamily="2" charset="2"/>
              <a:buChar char="§"/>
              <a:defRPr sz="1800"/>
            </a:lvl5pPr>
            <a:lvl6pPr marL="540000" indent="-180000">
              <a:buFont typeface="Wingdings" panose="05000000000000000000" pitchFamily="2" charset="2"/>
              <a:buChar char="§"/>
              <a:defRPr sz="1700"/>
            </a:lvl6pPr>
            <a:lvl7pPr>
              <a:buClr>
                <a:schemeClr val="tx2"/>
              </a:buClr>
              <a:buAutoNum type="arabicPeriod"/>
              <a:defRPr sz="1800"/>
            </a:lvl7pPr>
            <a:lvl8pPr>
              <a:buAutoNum type="arabicPeriod"/>
              <a:defRPr sz="1800"/>
            </a:lvl8pPr>
            <a:lvl9pPr>
              <a:defRPr sz="17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1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59333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2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28645"/>
            <a:ext cx="10972800" cy="745639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7112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63" r:id="rId3"/>
    <p:sldLayoutId id="2147483680" r:id="rId4"/>
    <p:sldLayoutId id="2147483677" r:id="rId5"/>
    <p:sldLayoutId id="2147483682" r:id="rId6"/>
    <p:sldLayoutId id="2147483684" r:id="rId7"/>
    <p:sldLayoutId id="2147483666" r:id="rId8"/>
    <p:sldLayoutId id="2147483662" r:id="rId9"/>
    <p:sldLayoutId id="2147483664" r:id="rId10"/>
    <p:sldLayoutId id="2147483685" r:id="rId11"/>
    <p:sldLayoutId id="2147483678" r:id="rId12"/>
    <p:sldLayoutId id="2147483679" r:id="rId13"/>
    <p:sldLayoutId id="2147483667" r:id="rId14"/>
    <p:sldLayoutId id="2147483671" r:id="rId15"/>
  </p:sldLayoutIdLst>
  <p:hf sldNum="0" hdr="0" ft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itchFamily="34" charset="0"/>
        <a:buNone/>
        <a:defRPr sz="18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itchFamily="34" charset="0"/>
        <a:buNone/>
        <a:defRPr sz="1800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18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-180000" algn="l" defTabSz="457200" rtl="0" eaLnBrk="1" latinLnBrk="0" hangingPunct="1">
        <a:lnSpc>
          <a:spcPct val="150000"/>
        </a:lnSpc>
        <a:spcBef>
          <a:spcPts val="600"/>
        </a:spcBef>
        <a:buClr>
          <a:schemeClr val="tx2"/>
        </a:buClr>
        <a:buSzPct val="130000"/>
        <a:buFont typeface="+mj-lt"/>
        <a:buAutoNum type="arabicPeriod"/>
        <a:defRPr lang="it-IT" sz="18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735058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</p:sldLayoutIdLst>
  <p:hf sldNum="0"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77474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</p:sldLayoutIdLst>
  <p:hf sldNum="0"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mailto:c.castelli@reply.eu" TargetMode="External"/><Relationship Id="rId1" Type="http://schemas.openxmlformats.org/officeDocument/2006/relationships/slideLayout" Target="../slideLayouts/slideLayout4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 txBox="1">
            <a:spLocks/>
          </p:cNvSpPr>
          <p:nvPr/>
        </p:nvSpPr>
        <p:spPr>
          <a:xfrm>
            <a:off x="1315237" y="1570936"/>
            <a:ext cx="7091866" cy="3216228"/>
          </a:xfrm>
          <a:prstGeom prst="rect">
            <a:avLst/>
          </a:prstGeom>
        </p:spPr>
        <p:txBody>
          <a:bodyPr vert="horz" lIns="0" tIns="45720" rIns="91440" bIns="0" rtlCol="0" anchor="b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sz="4400" dirty="0" smtClean="0">
                <a:solidFill>
                  <a:srgbClr val="FFFFFF"/>
                </a:solidFill>
              </a:rPr>
              <a:t>PRESENTAZIONE </a:t>
            </a:r>
          </a:p>
          <a:p>
            <a:r>
              <a:rPr lang="it-IT" sz="4400" dirty="0" smtClean="0">
                <a:solidFill>
                  <a:srgbClr val="FFFFFF"/>
                </a:solidFill>
              </a:rPr>
              <a:t>DATI NOVEMBRE 2017</a:t>
            </a:r>
            <a:r>
              <a:rPr lang="it-IT" sz="4400" dirty="0">
                <a:solidFill>
                  <a:srgbClr val="FFFFFF"/>
                </a:solidFill>
              </a:rPr>
              <a:t/>
            </a:r>
            <a:br>
              <a:rPr lang="it-IT" sz="4400" dirty="0">
                <a:solidFill>
                  <a:srgbClr val="FFFFFF"/>
                </a:solidFill>
              </a:rPr>
            </a:br>
            <a:endParaRPr lang="it-IT" sz="2000" dirty="0" smtClean="0">
              <a:solidFill>
                <a:srgbClr val="FFFFFF"/>
              </a:solidFill>
            </a:endParaRPr>
          </a:p>
          <a:p>
            <a:r>
              <a:rPr lang="it-IT" sz="4400" dirty="0" smtClean="0">
                <a:solidFill>
                  <a:srgbClr val="FFFFFF"/>
                </a:solidFill>
              </a:rPr>
              <a:t>OSSERVATORIO - FCP </a:t>
            </a:r>
          </a:p>
          <a:p>
            <a:r>
              <a:rPr lang="it-IT" sz="4400" dirty="0" smtClean="0">
                <a:solidFill>
                  <a:srgbClr val="FFFFFF"/>
                </a:solidFill>
              </a:rPr>
              <a:t>ASSOINTERNET</a:t>
            </a:r>
            <a:endParaRPr lang="it-IT" sz="4400" dirty="0">
              <a:solidFill>
                <a:srgbClr val="FFFFFF"/>
              </a:solidFill>
            </a:endParaRPr>
          </a:p>
        </p:txBody>
      </p:sp>
      <p:sp>
        <p:nvSpPr>
          <p:cNvPr id="7" name="Sottotitolo 2"/>
          <p:cNvSpPr>
            <a:spLocks noGrp="1"/>
          </p:cNvSpPr>
          <p:nvPr>
            <p:ph type="subTitle" idx="1"/>
          </p:nvPr>
        </p:nvSpPr>
        <p:spPr>
          <a:xfrm>
            <a:off x="1345717" y="5175273"/>
            <a:ext cx="7585612" cy="438427"/>
          </a:xfrm>
        </p:spPr>
        <p:txBody>
          <a:bodyPr/>
          <a:lstStyle/>
          <a:p>
            <a:r>
              <a:rPr lang="it-IT" sz="1800" dirty="0" smtClean="0"/>
              <a:t>Milano, 21 dicembre 2017</a:t>
            </a:r>
            <a:endParaRPr lang="it-IT" sz="1800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8424" y="373634"/>
            <a:ext cx="3425003" cy="179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677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>
            <a:spLocks noGrp="1"/>
          </p:cNvSpPr>
          <p:nvPr>
            <p:ph type="ctrTitle"/>
          </p:nvPr>
        </p:nvSpPr>
        <p:spPr>
          <a:xfrm>
            <a:off x="1433788" y="2877954"/>
            <a:ext cx="5274716" cy="1564614"/>
          </a:xfrm>
        </p:spPr>
        <p:txBody>
          <a:bodyPr/>
          <a:lstStyle/>
          <a:p>
            <a:r>
              <a:rPr lang="it-IT" sz="6000" dirty="0" err="1" smtClean="0"/>
              <a:t>Thank</a:t>
            </a:r>
            <a:r>
              <a:rPr lang="it-IT" sz="6000" dirty="0" smtClean="0"/>
              <a:t> </a:t>
            </a:r>
            <a:r>
              <a:rPr lang="it-IT" sz="6000" dirty="0" err="1" smtClean="0"/>
              <a:t>you</a:t>
            </a:r>
            <a:endParaRPr lang="it-IT" sz="6000" dirty="0"/>
          </a:p>
        </p:txBody>
      </p:sp>
      <p:sp>
        <p:nvSpPr>
          <p:cNvPr id="7" name="Sottotitolo 4"/>
          <p:cNvSpPr>
            <a:spLocks noGrp="1"/>
          </p:cNvSpPr>
          <p:nvPr>
            <p:ph type="subTitle" idx="1"/>
          </p:nvPr>
        </p:nvSpPr>
        <p:spPr>
          <a:xfrm>
            <a:off x="1541365" y="4501190"/>
            <a:ext cx="9337921" cy="1232066"/>
          </a:xfrm>
        </p:spPr>
        <p:txBody>
          <a:bodyPr/>
          <a:lstStyle/>
          <a:p>
            <a:pPr algn="l"/>
            <a:r>
              <a:rPr lang="it-IT" sz="2000" dirty="0" smtClean="0"/>
              <a:t>Chiara Castelli</a:t>
            </a:r>
            <a:br>
              <a:rPr lang="it-IT" sz="2000" dirty="0" smtClean="0"/>
            </a:br>
            <a:r>
              <a:rPr lang="it-IT" sz="2000" dirty="0" smtClean="0"/>
              <a:t>Tel. +39 348 1001107</a:t>
            </a:r>
            <a:br>
              <a:rPr lang="it-IT" sz="2000" dirty="0" smtClean="0"/>
            </a:br>
            <a:r>
              <a:rPr lang="it-IT" sz="2000" dirty="0" smtClean="0">
                <a:hlinkClick r:id="rId2"/>
              </a:rPr>
              <a:t>c.castelli@reply.eu</a:t>
            </a:r>
            <a:r>
              <a:rPr lang="it-IT" sz="2000" dirty="0" smtClean="0"/>
              <a:t/>
            </a:r>
            <a:br>
              <a:rPr lang="it-IT" sz="2000" dirty="0" smtClean="0"/>
            </a:br>
            <a:r>
              <a:rPr lang="it-IT" sz="2000" dirty="0" smtClean="0"/>
              <a:t>www.reply.com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53502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4"/>
          <p:cNvSpPr/>
          <p:nvPr/>
        </p:nvSpPr>
        <p:spPr>
          <a:xfrm rot="5400000">
            <a:off x="5755297" y="-4658733"/>
            <a:ext cx="720000" cy="1072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5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7437506"/>
              </p:ext>
            </p:extLst>
          </p:nvPr>
        </p:nvGraphicFramePr>
        <p:xfrm>
          <a:off x="737850" y="345267"/>
          <a:ext cx="10728000" cy="24840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28000"/>
              </a:tblGrid>
              <a:tr h="689254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dirty="0" smtClean="0">
                          <a:solidFill>
                            <a:srgbClr val="FFFFFF"/>
                          </a:solidFill>
                          <a:latin typeface="Arial Black" panose="020B0A04020102020204" pitchFamily="34" charset="0"/>
                          <a:cs typeface="Arial"/>
                        </a:rPr>
                        <a:t>SITI NUOVI NEL MESE DI NOVEMBRE</a:t>
                      </a:r>
                      <a:r>
                        <a:rPr lang="it-IT" sz="1800" b="0" i="0" baseline="0" dirty="0" smtClean="0">
                          <a:solidFill>
                            <a:srgbClr val="FFFFFF"/>
                          </a:solidFill>
                          <a:latin typeface="Arial Black" panose="020B0A04020102020204" pitchFamily="34" charset="0"/>
                          <a:cs typeface="Arial"/>
                        </a:rPr>
                        <a:t> </a:t>
                      </a:r>
                      <a:r>
                        <a:rPr lang="it-IT" sz="1800" b="0" i="0" dirty="0" smtClean="0">
                          <a:solidFill>
                            <a:srgbClr val="FFFFFF"/>
                          </a:solidFill>
                          <a:latin typeface="Arial Black" panose="020B0A04020102020204" pitchFamily="34" charset="0"/>
                          <a:cs typeface="Arial"/>
                        </a:rPr>
                        <a:t>2017</a:t>
                      </a:r>
                      <a:endParaRPr lang="de-DE" sz="1800" b="0" i="0" dirty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ctr"/>
                      <a:r>
                        <a:rPr lang="de-DE" sz="1800" b="0" i="0" dirty="0" err="1" smtClean="0">
                          <a:solidFill>
                            <a:srgbClr val="000000"/>
                          </a:solidFill>
                          <a:latin typeface="Arial  "/>
                          <a:cs typeface="Arial"/>
                        </a:rPr>
                        <a:t>Nessuno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Arial  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Rechteck 4"/>
          <p:cNvSpPr/>
          <p:nvPr/>
        </p:nvSpPr>
        <p:spPr>
          <a:xfrm rot="5400000">
            <a:off x="5755297" y="-1265596"/>
            <a:ext cx="720000" cy="1072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7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4575391"/>
              </p:ext>
            </p:extLst>
          </p:nvPr>
        </p:nvGraphicFramePr>
        <p:xfrm>
          <a:off x="737850" y="3738404"/>
          <a:ext cx="10728000" cy="24840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28000"/>
              </a:tblGrid>
              <a:tr h="689254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dirty="0" smtClean="0">
                          <a:solidFill>
                            <a:srgbClr val="FFFFFF"/>
                          </a:solidFill>
                          <a:latin typeface="Arial Black" panose="020B0A04020102020204" pitchFamily="34" charset="0"/>
                          <a:cs typeface="Arial"/>
                        </a:rPr>
                        <a:t>SITI CHIUSI NEL MESE DI NOVEMBRE 2017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ctr"/>
                      <a:r>
                        <a:rPr lang="de-DE" sz="1800" b="0" i="0" dirty="0" err="1" smtClean="0">
                          <a:solidFill>
                            <a:srgbClr val="000000"/>
                          </a:solidFill>
                          <a:latin typeface="Arial  "/>
                          <a:cs typeface="Arial"/>
                        </a:rPr>
                        <a:t>Nessuno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Arial  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4347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11919" y="45607"/>
            <a:ext cx="7968163" cy="438427"/>
          </a:xfrm>
        </p:spPr>
        <p:txBody>
          <a:bodyPr/>
          <a:lstStyle/>
          <a:p>
            <a:r>
              <a:rPr lang="it-IT" i="1" dirty="0" smtClean="0"/>
              <a:t>Fatturato in migliaia di euro per DEVICE/STRUMENTO</a:t>
            </a:r>
            <a:endParaRPr lang="it-IT" i="1" dirty="0"/>
          </a:p>
        </p:txBody>
      </p:sp>
      <p:graphicFrame>
        <p:nvGraphicFramePr>
          <p:cNvPr id="7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3901553"/>
              </p:ext>
            </p:extLst>
          </p:nvPr>
        </p:nvGraphicFramePr>
        <p:xfrm>
          <a:off x="896780" y="725098"/>
          <a:ext cx="10398440" cy="5493005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093190"/>
                <a:gridCol w="924961"/>
                <a:gridCol w="924961"/>
                <a:gridCol w="924961"/>
                <a:gridCol w="924961"/>
                <a:gridCol w="924961"/>
                <a:gridCol w="864991"/>
                <a:gridCol w="786848"/>
                <a:gridCol w="904252"/>
                <a:gridCol w="152980"/>
                <a:gridCol w="1056078"/>
                <a:gridCol w="915296"/>
              </a:tblGrid>
              <a:tr h="417902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B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BIL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BLETS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MART TV/CONS.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427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3069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51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12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4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2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0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15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40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02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6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02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1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9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3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75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67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25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4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8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3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68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11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31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6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52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8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0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45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73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68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64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5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22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0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28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56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28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6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01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8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66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01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71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86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4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2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04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54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74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6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55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28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3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6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7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3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68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73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80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3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7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3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26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81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21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5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4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7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.80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8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32.59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6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61.95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60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6.55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5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86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11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01.97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0898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11919" y="45607"/>
            <a:ext cx="7968163" cy="438427"/>
          </a:xfrm>
        </p:spPr>
        <p:txBody>
          <a:bodyPr/>
          <a:lstStyle/>
          <a:p>
            <a:r>
              <a:rPr lang="it-IT" i="1" dirty="0" smtClean="0"/>
              <a:t>Fatturato in migliaia di euro per </a:t>
            </a:r>
            <a:r>
              <a:rPr lang="it-IT" i="1" dirty="0" err="1" smtClean="0"/>
              <a:t>MODALITà</a:t>
            </a:r>
            <a:r>
              <a:rPr lang="it-IT" i="1" dirty="0" smtClean="0"/>
              <a:t> DI VENDITA</a:t>
            </a:r>
            <a:endParaRPr lang="it-IT" i="1" dirty="0"/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3263855"/>
              </p:ext>
            </p:extLst>
          </p:nvPr>
        </p:nvGraphicFramePr>
        <p:xfrm>
          <a:off x="732001" y="711650"/>
          <a:ext cx="10727999" cy="5493002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140842"/>
                <a:gridCol w="1153164"/>
                <a:gridCol w="1294897"/>
                <a:gridCol w="1127946"/>
                <a:gridCol w="1127946"/>
                <a:gridCol w="1127946"/>
                <a:gridCol w="1054826"/>
                <a:gridCol w="188126"/>
                <a:gridCol w="1277790"/>
                <a:gridCol w="1234516"/>
              </a:tblGrid>
              <a:tr h="417903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RAND A IMPRESSION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RAND A TEMPO 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FORMANC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</a:t>
                      </a: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427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3069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33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68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3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7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15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40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38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30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3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5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4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75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88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40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9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68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11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36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78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8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73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91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3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1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3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28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56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17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5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7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9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5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01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78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99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6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04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82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1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11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2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55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55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95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2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6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2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68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25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48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2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26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87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09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83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.80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8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98.36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8.09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5.51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8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01.97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6431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11919" y="62860"/>
            <a:ext cx="7968163" cy="438427"/>
          </a:xfrm>
        </p:spPr>
        <p:txBody>
          <a:bodyPr/>
          <a:lstStyle/>
          <a:p>
            <a:r>
              <a:rPr lang="it-IT" i="1" dirty="0" smtClean="0"/>
              <a:t>Fatturato in migliaia di euro per oggetto/tipologia</a:t>
            </a:r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6394397"/>
              </p:ext>
            </p:extLst>
          </p:nvPr>
        </p:nvGraphicFramePr>
        <p:xfrm>
          <a:off x="137160" y="640239"/>
          <a:ext cx="11917681" cy="5863443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626984"/>
                <a:gridCol w="851296"/>
                <a:gridCol w="838200"/>
                <a:gridCol w="762000"/>
                <a:gridCol w="868680"/>
                <a:gridCol w="838200"/>
                <a:gridCol w="838200"/>
                <a:gridCol w="746760"/>
                <a:gridCol w="883920"/>
                <a:gridCol w="716280"/>
                <a:gridCol w="762000"/>
                <a:gridCol w="746760"/>
                <a:gridCol w="812798"/>
                <a:gridCol w="116842"/>
                <a:gridCol w="716280"/>
                <a:gridCol w="792481"/>
              </a:tblGrid>
              <a:tr h="639921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ANNER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IDEO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WSLETTER/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MAIL/SMS/MMS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LASSIFIED/</a:t>
                      </a:r>
                      <a:b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RECTORIES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ATIV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TRE TIPOLOGI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5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OTALE</a:t>
                      </a: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lang="it-IT" sz="1300" b="1" i="1" u="none" strike="noStrike" kern="12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</a:tr>
              <a:tr h="30427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5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iff</a:t>
                      </a: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</a:tr>
              <a:tr h="3069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91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6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6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6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0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4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15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40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18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4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14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3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7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3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79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75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66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9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3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4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5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3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0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9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68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11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35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15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5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1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1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9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2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73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57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5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8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4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89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26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9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4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8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28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56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35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5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1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93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6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60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3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01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63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4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02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7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8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5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2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8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1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04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4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2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9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5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8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40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1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7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2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55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76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24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1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80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7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1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68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00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04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2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1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4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5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9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26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16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7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92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6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64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1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8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.80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8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40.64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5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92.36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1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9.26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28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.33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1.22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3.13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0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01.97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80903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878839" y="155354"/>
            <a:ext cx="7968163" cy="438427"/>
          </a:xfrm>
        </p:spPr>
        <p:txBody>
          <a:bodyPr/>
          <a:lstStyle/>
          <a:p>
            <a:r>
              <a:rPr lang="it-IT" altLang="it-IT" sz="1400" i="1" dirty="0"/>
              <a:t>Fatturato VIDEO per mese </a:t>
            </a:r>
            <a:r>
              <a:rPr lang="it-IT" altLang="it-IT" sz="1400" i="1" dirty="0" smtClean="0"/>
              <a:t>A NOVEMBRE 2017 </a:t>
            </a:r>
            <a:r>
              <a:rPr lang="it-IT" altLang="it-IT" sz="1400" i="1" dirty="0"/>
              <a:t>in valore assoluto e percentuale suddiviso per le tipologie </a:t>
            </a:r>
            <a:r>
              <a:rPr lang="it-IT" altLang="it-IT" sz="1400" i="1" dirty="0" err="1"/>
              <a:t>Podcasting</a:t>
            </a:r>
            <a:r>
              <a:rPr lang="it-IT" altLang="it-IT" sz="1400" i="1" dirty="0"/>
              <a:t> video/Video Banner e </a:t>
            </a:r>
            <a:r>
              <a:rPr lang="it-IT" altLang="it-IT" sz="1400" i="1" dirty="0" err="1"/>
              <a:t>Pre</a:t>
            </a:r>
            <a:r>
              <a:rPr lang="it-IT" altLang="it-IT" sz="1400" i="1" dirty="0"/>
              <a:t>-</a:t>
            </a:r>
            <a:r>
              <a:rPr lang="it-IT" altLang="it-IT" sz="1400" i="1" dirty="0" err="1"/>
              <a:t>Mid</a:t>
            </a:r>
            <a:r>
              <a:rPr lang="it-IT" altLang="it-IT" sz="1400" i="1" dirty="0"/>
              <a:t>-Post </a:t>
            </a:r>
            <a:r>
              <a:rPr lang="it-IT" altLang="it-IT" sz="1400" i="1" dirty="0" err="1"/>
              <a:t>Roll</a:t>
            </a:r>
            <a:endParaRPr lang="it-IT" altLang="it-IT" sz="1400" i="1" dirty="0"/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1464956"/>
              </p:ext>
            </p:extLst>
          </p:nvPr>
        </p:nvGraphicFramePr>
        <p:xfrm>
          <a:off x="980516" y="690116"/>
          <a:ext cx="10230968" cy="5514024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050194"/>
                <a:gridCol w="1137046"/>
                <a:gridCol w="1137046"/>
                <a:gridCol w="1137046"/>
                <a:gridCol w="1137046"/>
                <a:gridCol w="1137046"/>
                <a:gridCol w="1137046"/>
                <a:gridCol w="188397"/>
                <a:gridCol w="1095191"/>
                <a:gridCol w="1074910"/>
              </a:tblGrid>
              <a:tr h="2472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108" marR="45108" marT="45109" marB="45109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sul Totale Video</a:t>
                      </a:r>
                      <a:r>
                        <a:rPr lang="it-IT" sz="1300" b="1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V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817050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08" marR="45108" marT="45109" marB="4510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ADV</a:t>
                      </a:r>
                      <a:r>
                        <a:rPr lang="it-IT" sz="1300" b="1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it-IT" sz="1300" b="1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dcasting</a:t>
                      </a:r>
                      <a:endParaRPr lang="it-IT" sz="1300" b="1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300" b="1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/Video Banner 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ADV</a:t>
                      </a:r>
                      <a:r>
                        <a:rPr lang="it-IT" sz="1300" b="1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it-IT" sz="1300" b="1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300" b="1" u="none" strike="noStrike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</a:t>
                      </a:r>
                      <a:r>
                        <a:rPr lang="it-IT" sz="1300" b="1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it-IT" sz="1300" b="1" u="none" strike="noStrike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d</a:t>
                      </a:r>
                      <a:r>
                        <a:rPr lang="it-IT" sz="1300" b="1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Post </a:t>
                      </a:r>
                      <a:r>
                        <a:rPr lang="it-IT" sz="1300" b="1" u="none" strike="noStrike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ll</a:t>
                      </a:r>
                      <a:r>
                        <a:rPr lang="it-IT" sz="1300" b="1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</a:t>
                      </a:r>
                      <a:r>
                        <a:rPr lang="it-IT" sz="1300" b="1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V  </a:t>
                      </a:r>
                    </a:p>
                    <a:p>
                      <a:pPr algn="ctr" rtl="0" fontAlgn="ctr"/>
                      <a:r>
                        <a:rPr lang="it-IT" sz="1300" b="1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it-IT" sz="1200" b="1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9526" marR="9526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ADV</a:t>
                      </a:r>
                      <a:b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dcasting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ideo/Video Banner 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ADV</a:t>
                      </a:r>
                      <a:b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-Mid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st 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ll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</a:tr>
              <a:tr h="211446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91441" marR="91441"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3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300" b="1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300" b="1" u="none" strike="noStrike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3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</a:tr>
              <a:tr h="3141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7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45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1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2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7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9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7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05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14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5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3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56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9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5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4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1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04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7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15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6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1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5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04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7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5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0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9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4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78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2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7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9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5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82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5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02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9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0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8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9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9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0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9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9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95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1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24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4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5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105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5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48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04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6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00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1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31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92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1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8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645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1.15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1.21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5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92.36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1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2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7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2190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01936" y="172607"/>
            <a:ext cx="7968163" cy="438427"/>
          </a:xfrm>
        </p:spPr>
        <p:txBody>
          <a:bodyPr/>
          <a:lstStyle/>
          <a:p>
            <a:r>
              <a:rPr lang="it-IT" sz="1400" i="1" dirty="0"/>
              <a:t>Trend del fatturato VIDEO per le tipologie </a:t>
            </a:r>
            <a:r>
              <a:rPr lang="it-IT" sz="1400" i="1" dirty="0" err="1"/>
              <a:t>Podcasting</a:t>
            </a:r>
            <a:r>
              <a:rPr lang="it-IT" sz="1400" i="1" dirty="0"/>
              <a:t> video/Video Banner e </a:t>
            </a:r>
            <a:r>
              <a:rPr lang="it-IT" sz="1400" i="1" dirty="0" err="1"/>
              <a:t>Pre</a:t>
            </a:r>
            <a:r>
              <a:rPr lang="it-IT" sz="1400" i="1" dirty="0"/>
              <a:t>-</a:t>
            </a:r>
            <a:r>
              <a:rPr lang="it-IT" sz="1400" i="1" dirty="0" err="1"/>
              <a:t>Mid</a:t>
            </a:r>
            <a:r>
              <a:rPr lang="it-IT" sz="1400" i="1" dirty="0"/>
              <a:t>-Post </a:t>
            </a:r>
            <a:r>
              <a:rPr lang="it-IT" sz="1400" i="1" dirty="0" err="1"/>
              <a:t>Roll</a:t>
            </a:r>
            <a:endParaRPr lang="it-IT" sz="1400" i="1" dirty="0"/>
          </a:p>
        </p:txBody>
      </p:sp>
      <p:grpSp>
        <p:nvGrpSpPr>
          <p:cNvPr id="3" name="Gruppo 2"/>
          <p:cNvGrpSpPr/>
          <p:nvPr/>
        </p:nvGrpSpPr>
        <p:grpSpPr>
          <a:xfrm>
            <a:off x="748553" y="928350"/>
            <a:ext cx="10470989" cy="5443422"/>
            <a:chOff x="748553" y="928350"/>
            <a:chExt cx="10470989" cy="5443422"/>
          </a:xfrm>
        </p:grpSpPr>
        <p:sp>
          <p:nvSpPr>
            <p:cNvPr id="13" name="Rechteck 4"/>
            <p:cNvSpPr/>
            <p:nvPr/>
          </p:nvSpPr>
          <p:spPr>
            <a:xfrm rot="5400000">
              <a:off x="3613443" y="330265"/>
              <a:ext cx="303267" cy="15298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900" dirty="0">
                <a:solidFill>
                  <a:srgbClr val="1DAC3E"/>
                </a:solidFill>
                <a:latin typeface="Arial Black"/>
                <a:cs typeface="Arial Black"/>
              </a:endParaRPr>
            </a:p>
          </p:txBody>
        </p:sp>
        <p:sp>
          <p:nvSpPr>
            <p:cNvPr id="15" name="Rechteck 4"/>
            <p:cNvSpPr/>
            <p:nvPr/>
          </p:nvSpPr>
          <p:spPr>
            <a:xfrm rot="5400000">
              <a:off x="8700696" y="330260"/>
              <a:ext cx="303267" cy="15298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900" dirty="0">
                <a:solidFill>
                  <a:srgbClr val="1DAC3E"/>
                </a:solidFill>
                <a:latin typeface="Arial Black"/>
                <a:cs typeface="Arial Black"/>
              </a:endParaRPr>
            </a:p>
          </p:txBody>
        </p:sp>
        <p:grpSp>
          <p:nvGrpSpPr>
            <p:cNvPr id="5" name="Gruppo 4"/>
            <p:cNvGrpSpPr/>
            <p:nvPr/>
          </p:nvGrpSpPr>
          <p:grpSpPr>
            <a:xfrm>
              <a:off x="3198873" y="928350"/>
              <a:ext cx="6194255" cy="324720"/>
              <a:chOff x="3382648" y="928350"/>
              <a:chExt cx="6194255" cy="324720"/>
            </a:xfrm>
          </p:grpSpPr>
          <p:sp>
            <p:nvSpPr>
              <p:cNvPr id="11" name="CasellaDiTesto 10"/>
              <p:cNvSpPr txBox="1"/>
              <p:nvPr/>
            </p:nvSpPr>
            <p:spPr bwMode="auto">
              <a:xfrm>
                <a:off x="3382648" y="928350"/>
                <a:ext cx="1123293" cy="3077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it-IT" sz="14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16</a:t>
                </a:r>
              </a:p>
            </p:txBody>
          </p:sp>
          <p:sp>
            <p:nvSpPr>
              <p:cNvPr id="12" name="CasellaDiTesto 11"/>
              <p:cNvSpPr txBox="1"/>
              <p:nvPr/>
            </p:nvSpPr>
            <p:spPr bwMode="auto">
              <a:xfrm>
                <a:off x="8476015" y="945293"/>
                <a:ext cx="1100888" cy="3077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it-IT" sz="14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17</a:t>
                </a:r>
              </a:p>
            </p:txBody>
          </p:sp>
        </p:grpSp>
        <p:graphicFrame>
          <p:nvGraphicFramePr>
            <p:cNvPr id="14" name="Grafico 13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456120960"/>
                </p:ext>
              </p:extLst>
            </p:nvPr>
          </p:nvGraphicFramePr>
          <p:xfrm>
            <a:off x="748553" y="1436970"/>
            <a:ext cx="10470989" cy="493480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1080416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481853" y="28354"/>
            <a:ext cx="11228294" cy="438427"/>
          </a:xfrm>
        </p:spPr>
        <p:txBody>
          <a:bodyPr/>
          <a:lstStyle/>
          <a:p>
            <a:r>
              <a:rPr lang="it-IT" sz="1400" i="1" dirty="0"/>
              <a:t>Ranking per fascia di fatturato totale (per 1.000) </a:t>
            </a:r>
            <a:r>
              <a:rPr lang="it-IT" sz="1400" i="1" dirty="0" smtClean="0"/>
              <a:t>- </a:t>
            </a:r>
            <a:r>
              <a:rPr lang="it-IT" sz="1400" i="1" dirty="0"/>
              <a:t>Crescita </a:t>
            </a:r>
            <a:r>
              <a:rPr lang="it-IT" sz="1400" i="1" dirty="0" smtClean="0"/>
              <a:t>% E PESO DEL FATTURATO MENSILE</a:t>
            </a:r>
            <a:endParaRPr lang="it-IT" sz="1400" i="1" dirty="0"/>
          </a:p>
        </p:txBody>
      </p:sp>
      <p:graphicFrame>
        <p:nvGraphicFramePr>
          <p:cNvPr id="8" name="Tabel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1282263"/>
              </p:ext>
            </p:extLst>
          </p:nvPr>
        </p:nvGraphicFramePr>
        <p:xfrm>
          <a:off x="858001" y="417003"/>
          <a:ext cx="10475999" cy="5857396"/>
        </p:xfrm>
        <a:graphic>
          <a:graphicData uri="http://schemas.openxmlformats.org/drawingml/2006/table">
            <a:tbl>
              <a:tblPr/>
              <a:tblGrid>
                <a:gridCol w="1494007"/>
                <a:gridCol w="1014079"/>
                <a:gridCol w="1092075"/>
                <a:gridCol w="1092075"/>
                <a:gridCol w="1191313"/>
                <a:gridCol w="1092075"/>
                <a:gridCol w="1191313"/>
                <a:gridCol w="1092075"/>
                <a:gridCol w="119562"/>
                <a:gridCol w="1097425"/>
              </a:tblGrid>
              <a:tr h="297225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it-IT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ascia Fatturato 2</a:t>
                      </a:r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016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A:</a:t>
                      </a:r>
                      <a:br>
                        <a:rPr lang="it-IT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gt; </a:t>
                      </a:r>
                      <a:r>
                        <a:rPr lang="it-IT" sz="9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</a:t>
                      </a:r>
                      <a:endParaRPr lang="it-IT" sz="9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B:</a:t>
                      </a:r>
                      <a:br>
                        <a:rPr lang="it-IT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9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 </a:t>
                      </a:r>
                      <a:r>
                        <a:rPr lang="it-IT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9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</a:t>
                      </a:r>
                      <a:endParaRPr lang="it-IT" sz="9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C:</a:t>
                      </a:r>
                      <a:b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 </a:t>
                      </a:r>
                      <a: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</a:t>
                      </a:r>
                      <a:endParaRPr lang="it-IT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D:</a:t>
                      </a:r>
                      <a:b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 </a:t>
                      </a:r>
                      <a: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7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E:</a:t>
                      </a:r>
                      <a:b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.000 - </a:t>
                      </a:r>
                      <a:r>
                        <a:rPr lang="it-IT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.000</a:t>
                      </a:r>
                      <a:endParaRPr lang="it-IT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F:</a:t>
                      </a:r>
                      <a:b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lt;</a:t>
                      </a:r>
                      <a:r>
                        <a:rPr lang="it-IT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4.000</a:t>
                      </a:r>
                      <a:endParaRPr lang="it-IT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r>
                        <a:rPr lang="it-IT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Valore</a:t>
                      </a:r>
                      <a:r>
                        <a:rPr lang="it-IT" sz="9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% per Mese</a:t>
                      </a:r>
                      <a:r>
                        <a:rPr lang="it-IT" sz="9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017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</a:tr>
              <a:tr h="182909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it-IT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° Aziende Dichiaranti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  <a:endParaRPr lang="it-IT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6</a:t>
                      </a:r>
                      <a:endParaRPr lang="it-IT" sz="900" b="1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0">
                <a:tc gridSpan="8"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2909">
                <a:tc rowSpan="11">
                  <a:txBody>
                    <a:bodyPr/>
                    <a:lstStyle/>
                    <a:p>
                      <a:pPr algn="ctr" fontAlgn="ctr"/>
                      <a:r>
                        <a:rPr lang="it-IT" sz="9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SCITA % DEL FATTURATO</a:t>
                      </a:r>
                      <a:r>
                        <a:rPr lang="it-IT" sz="900" b="1" u="none" strike="noStrike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9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 </a:t>
                      </a:r>
                      <a:r>
                        <a:rPr lang="it-IT" sz="9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SE 2017</a:t>
                      </a:r>
                      <a:r>
                        <a:rPr lang="it-IT" sz="9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UL 2016 </a:t>
                      </a:r>
                    </a:p>
                    <a:p>
                      <a:pPr algn="ctr" fontAlgn="ctr"/>
                      <a:r>
                        <a:rPr lang="it-IT" sz="9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AZIENDE DELLA FASCIA</a:t>
                      </a:r>
                      <a:endParaRPr lang="it-IT" sz="900" b="0" i="0" u="none" strike="noStrike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1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43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82909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8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8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2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0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2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3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8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82909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3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8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6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9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82909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9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4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1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82909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3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2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82909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9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4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1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3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4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0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82909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0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2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6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6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7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3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82909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4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4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1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2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7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82909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5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82909">
                <a:tc vMerge="1">
                  <a:txBody>
                    <a:bodyPr/>
                    <a:lstStyle/>
                    <a:p>
                      <a:pPr algn="l" rtl="0" fontAlgn="ctr"/>
                      <a:endParaRPr lang="it-IT" sz="11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6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9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4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82909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3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5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0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8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0">
                <a:tc gridSpan="8"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2909">
                <a:tc rowSpan="11">
                  <a:txBody>
                    <a:bodyPr/>
                    <a:lstStyle/>
                    <a:p>
                      <a:pPr algn="ctr" fontAlgn="ctr"/>
                      <a:r>
                        <a:rPr lang="it-IT" sz="9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SO DEL FATTURATO PER MESE </a:t>
                      </a:r>
                      <a:r>
                        <a:rPr lang="it-IT" sz="9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AZIENDE </a:t>
                      </a:r>
                    </a:p>
                    <a:p>
                      <a:pPr algn="ctr" fontAlgn="ctr"/>
                      <a:r>
                        <a:rPr lang="it-IT" sz="9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A FASCIA SUL TOTALE FATTURATO 2017</a:t>
                      </a:r>
                      <a:endParaRPr lang="it-IT" sz="900" b="0" i="0" u="none" strike="noStrike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5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4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82909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4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82909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5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82909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4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82909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6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82909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4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2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82909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5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2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82909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9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9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82909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3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7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82909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82909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8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</a:tbl>
          </a:graphicData>
        </a:graphic>
      </p:graphicFrame>
      <p:sp>
        <p:nvSpPr>
          <p:cNvPr id="9" name="CasellaDiTesto 8"/>
          <p:cNvSpPr txBox="1"/>
          <p:nvPr/>
        </p:nvSpPr>
        <p:spPr>
          <a:xfrm>
            <a:off x="1056640" y="6477320"/>
            <a:ext cx="10010140" cy="3063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.B. I valori sono stati calcolati partendo dai fatturati netti pubblicitari 2016 e 2017 (esclusa la "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Keywords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/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Search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adv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") delle Aziende che dichiarano i propri dati all'Osservatorio FCP Assointernet.</a:t>
            </a:r>
          </a:p>
        </p:txBody>
      </p:sp>
    </p:spTree>
    <p:extLst>
      <p:ext uri="{BB962C8B-B14F-4D97-AF65-F5344CB8AC3E}">
        <p14:creationId xmlns:p14="http://schemas.microsoft.com/office/powerpoint/2010/main" val="4171993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sellaDiTesto 8"/>
          <p:cNvSpPr txBox="1"/>
          <p:nvPr/>
        </p:nvSpPr>
        <p:spPr>
          <a:xfrm>
            <a:off x="1053574" y="6474332"/>
            <a:ext cx="10345946" cy="3063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.B. I valori sono stati calcolati partendo dai fatturati netti pubblicitari 2016 e 2017 (esclusa la "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Keywords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/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Search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adv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") delle Aziende che dichiarano i propri dati all'Osservatorio FCP Assointernet.</a:t>
            </a:r>
          </a:p>
        </p:txBody>
      </p:sp>
      <p:sp>
        <p:nvSpPr>
          <p:cNvPr id="5" name="Sottotitolo 3"/>
          <p:cNvSpPr txBox="1">
            <a:spLocks/>
          </p:cNvSpPr>
          <p:nvPr/>
        </p:nvSpPr>
        <p:spPr>
          <a:xfrm>
            <a:off x="481853" y="28354"/>
            <a:ext cx="11228294" cy="43842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600" b="0" kern="1200" cap="all" baseline="0">
                <a:solidFill>
                  <a:schemeClr val="tx1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2pPr>
            <a:lvl3pPr marL="914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371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None/>
              <a:defRPr lang="it-IT" sz="1800" kern="120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7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400" i="1" dirty="0" smtClean="0"/>
              <a:t>Ranking per fascia di fatturato totale (per 1.000) - Crescita % E PESO DEL FATTURATO PROGRESSIVO</a:t>
            </a:r>
            <a:endParaRPr lang="it-IT" sz="1400" i="1" dirty="0"/>
          </a:p>
        </p:txBody>
      </p:sp>
      <p:graphicFrame>
        <p:nvGraphicFramePr>
          <p:cNvPr id="10" name="Tabel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4640884"/>
              </p:ext>
            </p:extLst>
          </p:nvPr>
        </p:nvGraphicFramePr>
        <p:xfrm>
          <a:off x="858001" y="515956"/>
          <a:ext cx="10475999" cy="5857396"/>
        </p:xfrm>
        <a:graphic>
          <a:graphicData uri="http://schemas.openxmlformats.org/drawingml/2006/table">
            <a:tbl>
              <a:tblPr/>
              <a:tblGrid>
                <a:gridCol w="1494007"/>
                <a:gridCol w="1014079"/>
                <a:gridCol w="1092075"/>
                <a:gridCol w="1092075"/>
                <a:gridCol w="1191313"/>
                <a:gridCol w="1092075"/>
                <a:gridCol w="1191313"/>
                <a:gridCol w="1094801"/>
                <a:gridCol w="116836"/>
                <a:gridCol w="1097425"/>
              </a:tblGrid>
              <a:tr h="221647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it-IT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ascia Fatturato 2</a:t>
                      </a:r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016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A:</a:t>
                      </a:r>
                      <a:br>
                        <a:rPr lang="it-IT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gt; </a:t>
                      </a:r>
                      <a:r>
                        <a:rPr lang="it-IT" sz="9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</a:t>
                      </a:r>
                      <a:endParaRPr lang="it-IT" sz="9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B:</a:t>
                      </a:r>
                      <a:br>
                        <a:rPr lang="it-IT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9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 </a:t>
                      </a:r>
                      <a:r>
                        <a:rPr lang="it-IT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9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</a:t>
                      </a:r>
                      <a:endParaRPr lang="it-IT" sz="9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C:</a:t>
                      </a:r>
                      <a:b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 </a:t>
                      </a:r>
                      <a: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</a:t>
                      </a:r>
                      <a:endParaRPr lang="it-IT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D:</a:t>
                      </a:r>
                      <a:b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 </a:t>
                      </a:r>
                      <a: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7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E:</a:t>
                      </a:r>
                      <a:b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.000 - </a:t>
                      </a:r>
                      <a:r>
                        <a:rPr lang="it-IT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.000</a:t>
                      </a:r>
                      <a:endParaRPr lang="it-IT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F:</a:t>
                      </a:r>
                      <a:b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lt;</a:t>
                      </a:r>
                      <a:r>
                        <a:rPr lang="it-IT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4.000</a:t>
                      </a:r>
                      <a:endParaRPr lang="it-IT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r>
                        <a:rPr lang="it-IT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Valore</a:t>
                      </a:r>
                      <a:r>
                        <a:rPr lang="it-IT" sz="9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% per Mese</a:t>
                      </a:r>
                      <a:r>
                        <a:rPr lang="it-IT" sz="9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017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</a:tr>
              <a:tr h="138531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it-IT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° Aziende Dichiaranti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  <a:endParaRPr lang="it-IT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6</a:t>
                      </a:r>
                      <a:endParaRPr lang="it-IT" sz="900" b="1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0">
                <a:tc gridSpan="8"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8531">
                <a:tc rowSpan="11">
                  <a:txBody>
                    <a:bodyPr/>
                    <a:lstStyle/>
                    <a:p>
                      <a:pPr algn="ctr" fontAlgn="ctr"/>
                      <a:r>
                        <a:rPr lang="it-IT" sz="9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SCITA % DEL FATTURATO</a:t>
                      </a:r>
                      <a:r>
                        <a:rPr lang="it-IT" sz="900" b="1" u="none" strike="noStrike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9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GRESSIVO</a:t>
                      </a:r>
                      <a:r>
                        <a:rPr lang="it-IT" sz="9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017 SUL 2016 </a:t>
                      </a:r>
                    </a:p>
                    <a:p>
                      <a:pPr algn="ctr" fontAlgn="ctr"/>
                      <a:r>
                        <a:rPr lang="it-IT" sz="9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AZIENDE DELLA FASCIA</a:t>
                      </a:r>
                    </a:p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1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43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3853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8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7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4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3853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6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3853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5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5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3853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2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3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9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3853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3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0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7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8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3853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3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5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8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3853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0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0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4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8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0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38531">
                <a:tc vMerge="1">
                  <a:txBody>
                    <a:bodyPr/>
                    <a:lstStyle/>
                    <a:p>
                      <a:pPr algn="l" rtl="0" fontAlgn="ctr"/>
                      <a:endParaRPr lang="it-IT" sz="11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8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4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5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38531">
                <a:tc vMerge="1">
                  <a:txBody>
                    <a:bodyPr/>
                    <a:lstStyle/>
                    <a:p>
                      <a:pPr algn="l" rtl="0" fontAlgn="ctr"/>
                      <a:endParaRPr lang="it-IT" sz="10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8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0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5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38531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0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8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4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0">
                <a:tc gridSpan="8"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8531">
                <a:tc rowSpan="11">
                  <a:txBody>
                    <a:bodyPr/>
                    <a:lstStyle/>
                    <a:p>
                      <a:pPr algn="ctr" fontAlgn="ctr"/>
                      <a:r>
                        <a:rPr lang="it-IT" sz="9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SO DEL FATTURATO PROGRESSIVO </a:t>
                      </a:r>
                      <a:r>
                        <a:rPr lang="it-IT" sz="9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AZIENDE </a:t>
                      </a:r>
                    </a:p>
                    <a:p>
                      <a:pPr algn="ctr" fontAlgn="ctr"/>
                      <a:r>
                        <a:rPr lang="it-IT" sz="9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A FASCIA SUL TOTALE FATTURATO 2017</a:t>
                      </a:r>
                    </a:p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5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4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3853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5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3853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5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3853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4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3853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5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3853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5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3853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5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3853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4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2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3853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4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2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38531">
                <a:tc vMerge="1">
                  <a:txBody>
                    <a:bodyPr/>
                    <a:lstStyle/>
                    <a:p>
                      <a:pPr algn="l" rtl="0" fontAlgn="ctr"/>
                      <a:endParaRPr lang="it-IT" sz="10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4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38531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5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793897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5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ply Consulting PRESENTATION WHITE 4.3">
  <a:themeElements>
    <a:clrScheme name="Impostazioni personalizzate 150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76B8A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eply_ppt_template_black_4.3-TRIPLESENSE-CLD-rev.pptx" id="{5300BBF0-B928-40B7-A4F0-B85F7BB21587}" vid="{87529293-EB9D-4693-B12D-DC576F2C49D1}"/>
    </a:ext>
  </a:extLst>
</a:theme>
</file>

<file path=ppt/theme/theme2.xml><?xml version="1.0" encoding="utf-8"?>
<a:theme xmlns:a="http://schemas.openxmlformats.org/drawingml/2006/main" name="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3.xml><?xml version="1.0" encoding="utf-8"?>
<a:theme xmlns:a="http://schemas.openxmlformats.org/drawingml/2006/main" name="1_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eply Consulting PRESENTATION WHITE 4.3</Template>
  <TotalTime>647</TotalTime>
  <Words>2092</Words>
  <Application>Microsoft Office PowerPoint</Application>
  <PresentationFormat>Widescreen</PresentationFormat>
  <Paragraphs>1116</Paragraphs>
  <Slides>10</Slides>
  <Notes>9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3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0</vt:i4>
      </vt:variant>
    </vt:vector>
  </HeadingPairs>
  <TitlesOfParts>
    <vt:vector size="20" baseType="lpstr">
      <vt:lpstr>Arial</vt:lpstr>
      <vt:lpstr>Arial  </vt:lpstr>
      <vt:lpstr>Arial Black</vt:lpstr>
      <vt:lpstr>Calibri</vt:lpstr>
      <vt:lpstr>Verdana</vt:lpstr>
      <vt:lpstr>Wingdings</vt:lpstr>
      <vt:lpstr>Reply Consulting PRESENTATION WHITE 4.3</vt:lpstr>
      <vt:lpstr>Reply</vt:lpstr>
      <vt:lpstr>1_Reply</vt:lpstr>
      <vt:lpstr>think-cell Foli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Thank you</vt:lpstr>
    </vt:vector>
  </TitlesOfParts>
  <Manager/>
  <Company>Reply S.p.A.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 OF YOUR PRESENTATION</dc:title>
  <dc:subject/>
  <dc:creator>Selvaggi Laura</dc:creator>
  <cp:keywords/>
  <dc:description/>
  <cp:lastModifiedBy>Selvaggi Laura</cp:lastModifiedBy>
  <cp:revision>76</cp:revision>
  <cp:lastPrinted>2017-12-19T17:47:24Z</cp:lastPrinted>
  <dcterms:created xsi:type="dcterms:W3CDTF">2017-09-15T07:09:01Z</dcterms:created>
  <dcterms:modified xsi:type="dcterms:W3CDTF">2017-12-19T17:59:07Z</dcterms:modified>
  <cp:category/>
</cp:coreProperties>
</file>